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7"/>
    <p:restoredTop sz="94648"/>
  </p:normalViewPr>
  <p:slideViewPr>
    <p:cSldViewPr snapToGrid="0">
      <p:cViewPr varScale="1">
        <p:scale>
          <a:sx n="112" d="100"/>
          <a:sy n="112" d="100"/>
        </p:scale>
        <p:origin x="81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9EDEBD-0C52-D2F8-BB0E-9C45553F60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5D729E1-C7FC-0234-56A9-3BDBE828B1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3F1138-B3A2-B361-E0CB-7CBF88F93C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EE1F86-8466-7784-2A64-9AC5C0EC4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AB41D9-91F4-7248-E081-748AF79A9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0811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F0CDF-B716-DF21-672A-7D5886E32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4B5647C-2095-76C5-FC6E-44652F577C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F2A5EF-4CFB-8924-5B8F-5313868A7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3FA30C-EAB0-6B30-DB3F-915574BD8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3EAAB-D06E-CC59-7112-3382DFA27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602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533AA5A-A621-B18C-72EA-731399B84B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BCF1F1-0830-C6D9-7437-35BF845F32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DC71ED-0889-2F82-97F1-6D807D6727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A3EF2B-A25F-A794-8F80-569E4C1A3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64D795-70D6-6534-CC2A-8AD671BAE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819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BEE7A-DA87-AAF0-EAA2-EC32649E2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B4B511-DB8C-013C-66B6-2495DFDA91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619F02-118A-0325-AE13-C935309CC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D9FEB2-136E-937C-6D79-C0EF16AF5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224C72-8503-96B6-D105-CBBC2C5D1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422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C7C06-D94E-1196-0477-7FC2EC60F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611878-AB30-4B02-8021-895631FEA0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0107DF-5914-22E1-32A9-0995045239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74A05-7AD4-F0CA-6DA7-4D79646AC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4CD4CA-899D-4335-5B26-9FA71DD55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337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D0655-6671-32BF-4BC3-C34667542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FD2031-FFDF-0FAF-02DE-EFAF54CDD9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C1FF99-2EBF-8405-DBD1-462B611896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F791BD-2F47-ECC7-7D24-A3788A14D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228BD3-AF3B-D751-C51D-85C32E87F7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46684A-B51C-8388-E315-EF77336E5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2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56898B-3887-4166-F29D-3C80731A1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1F0F51-F271-C2A5-9630-BE119068F5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DC8F40-6AB8-20F1-9FB5-727337F08B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7C5740-DE8C-F433-EF9C-19BEB66F223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C5E741-C077-0816-DEFA-E3B7ED13A43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B51C11F-D107-A392-EA3E-575E48B48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49FC1E-1106-702A-3104-C6E62DE4A8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DB58A7-60EB-F74B-0020-3E3B89FC3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557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3AEDA-D7F4-F161-E9C8-46F2C061D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86EFF9-DBA8-DE01-5CE6-E229C89C96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BE8758-43DD-8D7C-7A87-0D0DAA241B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D57EAF-F690-BC0B-5F40-CE61EEB61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630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7AE658-0F7B-A54A-223F-78326EC6B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454A0C-50B1-C847-00E8-85FE4E600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8D0B05-6042-3B9B-1385-CF03A902C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838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46020-5040-EAF8-0D1E-F5BC38C32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5EFDA2-1D6A-CC3C-51DB-DD3AAE13FF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5D8F7C-65D8-D160-D258-D9998ABEDE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F2E1C4-3103-6448-E402-88E9663384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8F9E78-9271-2F00-AE7C-C643E07C09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954020-CA24-7105-A70A-B968A4D77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760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7BCBA6-3457-3287-3DC2-07C5E7D87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07914A2-7823-9FE8-5EB9-BA1B8A1626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667F2-C3C8-625E-BDE6-20496D1697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ACFF91-95D6-B56C-2827-4D779D9ED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3A5E10-4067-18E6-F9E0-78CE7E09A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6EEFC0-D4EF-F961-DAEE-91C5D3EA2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231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28F7C92-EF5B-F7B4-8F7C-EF02E1288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574354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8BF68B-10BA-9BB5-3243-2B24DEC8E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10F115-BBD0-522A-0A55-1AE2D3CD4A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141F53-F68D-BBCC-8E99-FFAA24D3D9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146548A-DA0C-C949-92BC-C922BD796011}" type="datetimeFigureOut">
              <a:rPr lang="en-US" smtClean="0"/>
              <a:t>1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6A83DB-513E-FD0B-E34E-AF847ECABE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4B2519-1892-5915-92E5-64E8F8FF1D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3C99D0B-3CEE-C04A-956C-A4720BEBF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424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4.jpeg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jpeg"/><Relationship Id="rId15" Type="http://schemas.openxmlformats.org/officeDocument/2006/relationships/image" Target="../media/image13.jpeg"/><Relationship Id="rId10" Type="http://schemas.openxmlformats.org/officeDocument/2006/relationships/image" Target="../media/image8.png"/><Relationship Id="rId4" Type="http://schemas.openxmlformats.org/officeDocument/2006/relationships/image" Target="../media/image2.emf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78911E7-8E63-AA90-7EB7-ED20CA4288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2183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0" name="Picture 6" descr="1.325.944 Barcelona España Stock Photos, High-Res Pictures, and Images -  Getty Images | Madrid, Granada españa, Paris">
            <a:extLst>
              <a:ext uri="{FF2B5EF4-FFF2-40B4-BE49-F238E27FC236}">
                <a16:creationId xmlns:a16="http://schemas.microsoft.com/office/drawing/2014/main" id="{E6DACA48-2095-30ED-61B9-D6BA839265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17" y="920015"/>
            <a:ext cx="2219487" cy="1479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C6430CB-85BA-8C9C-9327-920637A047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81246" y="4164278"/>
            <a:ext cx="2101850" cy="1359164"/>
          </a:xfrm>
          <a:prstGeom prst="rect">
            <a:avLst/>
          </a:prstGeom>
        </p:spPr>
      </p:pic>
      <p:pic>
        <p:nvPicPr>
          <p:cNvPr id="6" name="Picture 5" descr="A person smiling for a picture&#10;&#10;AI-generated content may be incorrect.">
            <a:extLst>
              <a:ext uri="{FF2B5EF4-FFF2-40B4-BE49-F238E27FC236}">
                <a16:creationId xmlns:a16="http://schemas.microsoft.com/office/drawing/2014/main" id="{B5622453-26AB-C621-13FD-6CB2B073A9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98504" y="232741"/>
            <a:ext cx="2679531" cy="2748680"/>
          </a:xfrm>
          <a:prstGeom prst="ellips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softEdge rad="0"/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7595A6F-B7CA-EC08-1E86-789B22951B29}"/>
              </a:ext>
            </a:extLst>
          </p:cNvPr>
          <p:cNvSpPr txBox="1"/>
          <p:nvPr/>
        </p:nvSpPr>
        <p:spPr>
          <a:xfrm>
            <a:off x="4044412" y="2909319"/>
            <a:ext cx="41031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Oscar Camilo Alvarez Torr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777025-D9C2-C3FA-A318-55628222FC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83057" y="1076416"/>
            <a:ext cx="1324149" cy="210760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00AF94F-9907-CB43-ABB6-E37FDBE5AC06}"/>
              </a:ext>
            </a:extLst>
          </p:cNvPr>
          <p:cNvSpPr txBox="1"/>
          <p:nvPr/>
        </p:nvSpPr>
        <p:spPr>
          <a:xfrm>
            <a:off x="583096" y="569843"/>
            <a:ext cx="12089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i="1" dirty="0">
                <a:latin typeface="Apple Chancery" panose="03020702040506060504" pitchFamily="66" charset="-79"/>
                <a:cs typeface="Apple Chancery" panose="03020702040506060504" pitchFamily="66" charset="-79"/>
              </a:rPr>
              <a:t>Donde viv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D574A3-3AD2-62A0-045C-E832C7FCB90D}"/>
              </a:ext>
            </a:extLst>
          </p:cNvPr>
          <p:cNvSpPr txBox="1"/>
          <p:nvPr/>
        </p:nvSpPr>
        <p:spPr>
          <a:xfrm>
            <a:off x="8544346" y="676307"/>
            <a:ext cx="270088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i="1" dirty="0" err="1">
                <a:latin typeface="Apple Chancery" panose="03020702040506060504" pitchFamily="66" charset="-79"/>
                <a:cs typeface="Apple Chancery" panose="03020702040506060504" pitchFamily="66" charset="-79"/>
              </a:rPr>
              <a:t>Estudios</a:t>
            </a:r>
            <a:endParaRPr lang="en-US" sz="1800" b="1" i="1" dirty="0">
              <a:latin typeface="Apple Chancery" panose="03020702040506060504" pitchFamily="66" charset="-79"/>
              <a:cs typeface="Apple Chancery" panose="03020702040506060504" pitchFamily="66" charset="-79"/>
            </a:endParaRPr>
          </a:p>
          <a:p>
            <a:r>
              <a:rPr lang="en-US" sz="1400" dirty="0" err="1"/>
              <a:t>Ingeniero</a:t>
            </a:r>
            <a:r>
              <a:rPr lang="en-US" sz="1400" dirty="0"/>
              <a:t> de Telecomunicaciones, MBA y MM</a:t>
            </a:r>
            <a:r>
              <a:rPr lang="en-US" sz="1400" dirty="0">
                <a:latin typeface="Apple Chancery" panose="03020702040506060504" pitchFamily="66" charset="-79"/>
                <a:cs typeface="Apple Chancery" panose="03020702040506060504" pitchFamily="66" charset="-79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038F73C-7660-50E4-8DEB-33C9D3D27FD1}"/>
              </a:ext>
            </a:extLst>
          </p:cNvPr>
          <p:cNvSpPr txBox="1"/>
          <p:nvPr/>
        </p:nvSpPr>
        <p:spPr>
          <a:xfrm>
            <a:off x="6540204" y="3921562"/>
            <a:ext cx="23791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err="1">
                <a:latin typeface="Apple Chancery" panose="03020702040506060504" pitchFamily="66" charset="-79"/>
                <a:cs typeface="Apple Chancery" panose="03020702040506060504" pitchFamily="66" charset="-79"/>
              </a:rPr>
              <a:t>Intereses</a:t>
            </a:r>
            <a:r>
              <a:rPr lang="en-US" sz="1800" b="1" dirty="0">
                <a:latin typeface="Apple Chancery" panose="03020702040506060504" pitchFamily="66" charset="-79"/>
                <a:cs typeface="Apple Chancery" panose="03020702040506060504" pitchFamily="66" charset="-79"/>
              </a:rPr>
              <a:t> </a:t>
            </a:r>
            <a:r>
              <a:rPr lang="en-US" sz="1800" b="1" dirty="0" err="1">
                <a:latin typeface="Apple Chancery" panose="03020702040506060504" pitchFamily="66" charset="-79"/>
                <a:cs typeface="Apple Chancery" panose="03020702040506060504" pitchFamily="66" charset="-79"/>
              </a:rPr>
              <a:t>profesionales</a:t>
            </a:r>
            <a:endParaRPr lang="en-US" sz="1800" b="1" dirty="0">
              <a:latin typeface="Apple Chancery" panose="03020702040506060504" pitchFamily="66" charset="-79"/>
              <a:cs typeface="Apple Chancery" panose="03020702040506060504" pitchFamily="66" charset="-79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6C7782-D2C9-7934-227B-3D8FB317F2B7}"/>
              </a:ext>
            </a:extLst>
          </p:cNvPr>
          <p:cNvSpPr txBox="1"/>
          <p:nvPr/>
        </p:nvSpPr>
        <p:spPr>
          <a:xfrm>
            <a:off x="8488990" y="1476526"/>
            <a:ext cx="1595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i="1" dirty="0" err="1">
                <a:latin typeface="Apple Chancery" panose="03020702040506060504" pitchFamily="66" charset="-79"/>
                <a:cs typeface="Apple Chancery" panose="03020702040506060504" pitchFamily="66" charset="-79"/>
              </a:rPr>
              <a:t>Profesion</a:t>
            </a:r>
            <a:endParaRPr lang="en-US" sz="1800" b="1" i="1" dirty="0">
              <a:latin typeface="Apple Chancery" panose="03020702040506060504" pitchFamily="66" charset="-79"/>
              <a:cs typeface="Apple Chancery" panose="03020702040506060504" pitchFamily="66" charset="-79"/>
            </a:endParaRPr>
          </a:p>
          <a:p>
            <a:r>
              <a:rPr lang="en-US" sz="1400" dirty="0"/>
              <a:t>Data Engineer</a:t>
            </a:r>
            <a:endParaRPr lang="en-US" sz="1400" dirty="0">
              <a:latin typeface="Apple Chancery" panose="03020702040506060504" pitchFamily="66" charset="-79"/>
              <a:cs typeface="Apple Chancery" panose="03020702040506060504" pitchFamily="66" charset="-79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18A9BA3-6123-A117-5FBD-7BE6602EECA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6792" y="5064134"/>
            <a:ext cx="2882900" cy="13589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FDA3D51-32D7-59BF-360B-43FBF9063D3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82452" y="4366951"/>
            <a:ext cx="1519314" cy="86392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39D2D40-563F-1420-4D7F-9C72F4DD7AA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2780" y="4458327"/>
            <a:ext cx="1048854" cy="158080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9E1FA94-E637-D328-366B-A7D91C32AF3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91620" y="5254676"/>
            <a:ext cx="1771923" cy="97781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95C6537-FC30-3D3C-F9B7-A7979B588192}"/>
              </a:ext>
            </a:extLst>
          </p:cNvPr>
          <p:cNvSpPr txBox="1"/>
          <p:nvPr/>
        </p:nvSpPr>
        <p:spPr>
          <a:xfrm>
            <a:off x="3629326" y="3932848"/>
            <a:ext cx="21259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err="1">
                <a:latin typeface="Apple Chancery" panose="03020702040506060504" pitchFamily="66" charset="-79"/>
                <a:cs typeface="Apple Chancery" panose="03020702040506060504" pitchFamily="66" charset="-79"/>
              </a:rPr>
              <a:t>Intereses</a:t>
            </a:r>
            <a:r>
              <a:rPr lang="en-US" sz="1800" b="1" dirty="0">
                <a:latin typeface="Apple Chancery" panose="03020702040506060504" pitchFamily="66" charset="-79"/>
                <a:cs typeface="Apple Chancery" panose="03020702040506060504" pitchFamily="66" charset="-79"/>
              </a:rPr>
              <a:t> </a:t>
            </a:r>
            <a:r>
              <a:rPr lang="en-US" sz="1800" b="1" dirty="0" err="1">
                <a:latin typeface="Apple Chancery" panose="03020702040506060504" pitchFamily="66" charset="-79"/>
                <a:cs typeface="Apple Chancery" panose="03020702040506060504" pitchFamily="66" charset="-79"/>
              </a:rPr>
              <a:t>personales</a:t>
            </a:r>
            <a:endParaRPr lang="en-US" sz="1800" b="1" dirty="0">
              <a:latin typeface="Apple Chancery" panose="03020702040506060504" pitchFamily="66" charset="-79"/>
              <a:cs typeface="Apple Chancery" panose="03020702040506060504" pitchFamily="66" charset="-79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2A525D3-2E99-BB36-23DE-E8A7862477F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166921" y="4290894"/>
            <a:ext cx="1755523" cy="96892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349EB82-41DF-51BB-925C-4701F68A5E3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950529" y="5095914"/>
            <a:ext cx="1943831" cy="1161930"/>
          </a:xfrm>
          <a:prstGeom prst="rect">
            <a:avLst/>
          </a:prstGeom>
        </p:spPr>
      </p:pic>
      <p:pic>
        <p:nvPicPr>
          <p:cNvPr id="1028" name="Picture 4" descr="Ingenería Mecánica: Las claves para los Ingenieros del Futuro">
            <a:extLst>
              <a:ext uri="{FF2B5EF4-FFF2-40B4-BE49-F238E27FC236}">
                <a16:creationId xmlns:a16="http://schemas.microsoft.com/office/drawing/2014/main" id="{999C6C5F-AA6C-5F59-D0A6-120FAD6F47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7611" y="472606"/>
            <a:ext cx="1241483" cy="695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1BB17DCA-6BE9-8AC7-027B-00E74DB019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93" y="2320297"/>
            <a:ext cx="1273372" cy="793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7FF974C-9177-7691-087D-E06BFDE817C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54964" y="1806499"/>
            <a:ext cx="1495304" cy="1414993"/>
          </a:xfrm>
          <a:prstGeom prst="rect">
            <a:avLst/>
          </a:prstGeom>
        </p:spPr>
      </p:pic>
      <p:pic>
        <p:nvPicPr>
          <p:cNvPr id="1034" name="Picture 10" descr="Vectores e ilustraciones de Rama Arbol para descargar gratis | Freepik">
            <a:extLst>
              <a:ext uri="{FF2B5EF4-FFF2-40B4-BE49-F238E27FC236}">
                <a16:creationId xmlns:a16="http://schemas.microsoft.com/office/drawing/2014/main" id="{92CEFA3E-13C9-955E-CF30-0D1C92BF08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9265" y="875970"/>
            <a:ext cx="1199538" cy="722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0" descr="Vectores e ilustraciones de Rama Arbol para descargar gratis | Freepik">
            <a:extLst>
              <a:ext uri="{FF2B5EF4-FFF2-40B4-BE49-F238E27FC236}">
                <a16:creationId xmlns:a16="http://schemas.microsoft.com/office/drawing/2014/main" id="{B6A205E0-40AA-E589-F664-413FE5DFCD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407205" y="1440576"/>
            <a:ext cx="1128093" cy="722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0" descr="Vectores e ilustraciones de Rama Arbol para descargar gratis | Freepik">
            <a:extLst>
              <a:ext uri="{FF2B5EF4-FFF2-40B4-BE49-F238E27FC236}">
                <a16:creationId xmlns:a16="http://schemas.microsoft.com/office/drawing/2014/main" id="{13D15709-0805-D9B0-21EF-C8EE253273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966521">
            <a:off x="5446752" y="3614942"/>
            <a:ext cx="1298495" cy="781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6804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21</Words>
  <Application>Microsoft Macintosh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ple Chancery</vt:lpstr>
      <vt:lpstr>Aptos</vt:lpstr>
      <vt:lpstr>Aptos Display</vt:lpstr>
      <vt:lpstr>Arial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varez, Oscar Camilo /ES</dc:creator>
  <cp:lastModifiedBy>Alvarez, Oscar Camilo /ES</cp:lastModifiedBy>
  <cp:revision>3</cp:revision>
  <dcterms:created xsi:type="dcterms:W3CDTF">2025-01-21T09:02:19Z</dcterms:created>
  <dcterms:modified xsi:type="dcterms:W3CDTF">2025-01-21T09:3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9088468-0951-4aef-9cc3-0a346e475ddc_Enabled">
    <vt:lpwstr>true</vt:lpwstr>
  </property>
  <property fmtid="{D5CDD505-2E9C-101B-9397-08002B2CF9AE}" pid="3" name="MSIP_Label_d9088468-0951-4aef-9cc3-0a346e475ddc_SetDate">
    <vt:lpwstr>2025-01-21T09:24:36Z</vt:lpwstr>
  </property>
  <property fmtid="{D5CDD505-2E9C-101B-9397-08002B2CF9AE}" pid="4" name="MSIP_Label_d9088468-0951-4aef-9cc3-0a346e475ddc_Method">
    <vt:lpwstr>Privileged</vt:lpwstr>
  </property>
  <property fmtid="{D5CDD505-2E9C-101B-9397-08002B2CF9AE}" pid="5" name="MSIP_Label_d9088468-0951-4aef-9cc3-0a346e475ddc_Name">
    <vt:lpwstr>Public</vt:lpwstr>
  </property>
  <property fmtid="{D5CDD505-2E9C-101B-9397-08002B2CF9AE}" pid="6" name="MSIP_Label_d9088468-0951-4aef-9cc3-0a346e475ddc_SiteId">
    <vt:lpwstr>aca3c8d6-aa71-4e1a-a10e-03572fc58c0b</vt:lpwstr>
  </property>
  <property fmtid="{D5CDD505-2E9C-101B-9397-08002B2CF9AE}" pid="7" name="MSIP_Label_d9088468-0951-4aef-9cc3-0a346e475ddc_ActionId">
    <vt:lpwstr>22a42f60-e835-4a27-8554-7cbedd89c4c5</vt:lpwstr>
  </property>
  <property fmtid="{D5CDD505-2E9C-101B-9397-08002B2CF9AE}" pid="8" name="MSIP_Label_d9088468-0951-4aef-9cc3-0a346e475ddc_ContentBits">
    <vt:lpwstr>0</vt:lpwstr>
  </property>
  <property fmtid="{D5CDD505-2E9C-101B-9397-08002B2CF9AE}" pid="9" name="MSIP_Label_d9088468-0951-4aef-9cc3-0a346e475ddc_Tag">
    <vt:lpwstr>50, 0, 1, 1</vt:lpwstr>
  </property>
</Properties>
</file>